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2"/>
  </p:notesMasterIdLst>
  <p:sldIdLst>
    <p:sldId id="271" r:id="rId3"/>
    <p:sldId id="257" r:id="rId4"/>
    <p:sldId id="265" r:id="rId5"/>
    <p:sldId id="264" r:id="rId6"/>
    <p:sldId id="266" r:id="rId7"/>
    <p:sldId id="274" r:id="rId8"/>
    <p:sldId id="268" r:id="rId9"/>
    <p:sldId id="267" r:id="rId10"/>
    <p:sldId id="272" r:id="rId11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88F092-25B2-4448-BC45-336AE529CFC8}" v="5" dt="2020-07-30T23:57:16.4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70"/>
    <p:restoredTop sz="94578"/>
  </p:normalViewPr>
  <p:slideViewPr>
    <p:cSldViewPr snapToGrid="0">
      <p:cViewPr varScale="1">
        <p:scale>
          <a:sx n="134" d="100"/>
          <a:sy n="134" d="100"/>
        </p:scale>
        <p:origin x="3152" y="17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chini Paidisetty" userId="6a8dc582-80f6-4ffb-8e1d-ea16b67c54bb" providerId="ADAL" clId="{CB88F092-25B2-4448-BC45-336AE529CFC8}"/>
    <pc:docChg chg="custSel addSld delSld modSld">
      <pc:chgData name="Rochini Paidisetty" userId="6a8dc582-80f6-4ffb-8e1d-ea16b67c54bb" providerId="ADAL" clId="{CB88F092-25B2-4448-BC45-336AE529CFC8}" dt="2020-07-30T23:57:52.335" v="54" actId="20577"/>
      <pc:docMkLst>
        <pc:docMk/>
      </pc:docMkLst>
      <pc:sldChg chg="addSp delSp modSp">
        <pc:chgData name="Rochini Paidisetty" userId="6a8dc582-80f6-4ffb-8e1d-ea16b67c54bb" providerId="ADAL" clId="{CB88F092-25B2-4448-BC45-336AE529CFC8}" dt="2020-07-30T23:57:25.848" v="52"/>
        <pc:sldMkLst>
          <pc:docMk/>
          <pc:sldMk cId="4044939339" sldId="264"/>
        </pc:sldMkLst>
        <pc:spChg chg="mod">
          <ac:chgData name="Rochini Paidisetty" userId="6a8dc582-80f6-4ffb-8e1d-ea16b67c54bb" providerId="ADAL" clId="{CB88F092-25B2-4448-BC45-336AE529CFC8}" dt="2020-07-30T23:57:22.145" v="50" actId="20577"/>
          <ac:spMkLst>
            <pc:docMk/>
            <pc:sldMk cId="4044939339" sldId="264"/>
            <ac:spMk id="2" creationId="{B6CDA9F9-4B6F-8240-8BF0-212F27193DCB}"/>
          </ac:spMkLst>
        </pc:spChg>
        <pc:spChg chg="add del mod">
          <ac:chgData name="Rochini Paidisetty" userId="6a8dc582-80f6-4ffb-8e1d-ea16b67c54bb" providerId="ADAL" clId="{CB88F092-25B2-4448-BC45-336AE529CFC8}" dt="2020-07-30T23:57:25.848" v="52"/>
          <ac:spMkLst>
            <pc:docMk/>
            <pc:sldMk cId="4044939339" sldId="264"/>
            <ac:spMk id="6" creationId="{170B9A07-64C3-BE41-9EA2-845BEF842FBA}"/>
          </ac:spMkLst>
        </pc:spChg>
        <pc:spChg chg="mod">
          <ac:chgData name="Rochini Paidisetty" userId="6a8dc582-80f6-4ffb-8e1d-ea16b67c54bb" providerId="ADAL" clId="{CB88F092-25B2-4448-BC45-336AE529CFC8}" dt="2020-07-30T23:51:26.329" v="18" actId="20577"/>
          <ac:spMkLst>
            <pc:docMk/>
            <pc:sldMk cId="4044939339" sldId="264"/>
            <ac:spMk id="11" creationId="{22A32AD2-8FE3-8C40-A52C-1F70023F0422}"/>
          </ac:spMkLst>
        </pc:spChg>
      </pc:sldChg>
      <pc:sldChg chg="add">
        <pc:chgData name="Rochini Paidisetty" userId="6a8dc582-80f6-4ffb-8e1d-ea16b67c54bb" providerId="ADAL" clId="{CB88F092-25B2-4448-BC45-336AE529CFC8}" dt="2020-07-30T23:56:46.491" v="40"/>
        <pc:sldMkLst>
          <pc:docMk/>
          <pc:sldMk cId="1923981179" sldId="265"/>
        </pc:sldMkLst>
      </pc:sldChg>
      <pc:sldChg chg="addSp delSp modSp">
        <pc:chgData name="Rochini Paidisetty" userId="6a8dc582-80f6-4ffb-8e1d-ea16b67c54bb" providerId="ADAL" clId="{CB88F092-25B2-4448-BC45-336AE529CFC8}" dt="2020-07-30T23:54:27.559" v="32" actId="5793"/>
        <pc:sldMkLst>
          <pc:docMk/>
          <pc:sldMk cId="3263554139" sldId="266"/>
        </pc:sldMkLst>
        <pc:spChg chg="mod">
          <ac:chgData name="Rochini Paidisetty" userId="6a8dc582-80f6-4ffb-8e1d-ea16b67c54bb" providerId="ADAL" clId="{CB88F092-25B2-4448-BC45-336AE529CFC8}" dt="2020-07-30T23:54:27.559" v="32" actId="5793"/>
          <ac:spMkLst>
            <pc:docMk/>
            <pc:sldMk cId="3263554139" sldId="266"/>
            <ac:spMk id="7" creationId="{832025C2-B17C-6946-9111-09997ADCC1EE}"/>
          </ac:spMkLst>
        </pc:spChg>
        <pc:picChg chg="del">
          <ac:chgData name="Rochini Paidisetty" userId="6a8dc582-80f6-4ffb-8e1d-ea16b67c54bb" providerId="ADAL" clId="{CB88F092-25B2-4448-BC45-336AE529CFC8}" dt="2020-07-30T23:52:31.552" v="19" actId="478"/>
          <ac:picMkLst>
            <pc:docMk/>
            <pc:sldMk cId="3263554139" sldId="266"/>
            <ac:picMk id="3" creationId="{DBF7AEF5-FB3D-914E-8CA0-BB8BDA1639F7}"/>
          </ac:picMkLst>
        </pc:picChg>
        <pc:picChg chg="add del mod">
          <ac:chgData name="Rochini Paidisetty" userId="6a8dc582-80f6-4ffb-8e1d-ea16b67c54bb" providerId="ADAL" clId="{CB88F092-25B2-4448-BC45-336AE529CFC8}" dt="2020-07-30T23:54:01.090" v="24" actId="478"/>
          <ac:picMkLst>
            <pc:docMk/>
            <pc:sldMk cId="3263554139" sldId="266"/>
            <ac:picMk id="4" creationId="{69104CB2-19B0-1845-A87D-D817B440D4AE}"/>
          </ac:picMkLst>
        </pc:picChg>
        <pc:picChg chg="add mod">
          <ac:chgData name="Rochini Paidisetty" userId="6a8dc582-80f6-4ffb-8e1d-ea16b67c54bb" providerId="ADAL" clId="{CB88F092-25B2-4448-BC45-336AE529CFC8}" dt="2020-07-30T23:54:12.578" v="28" actId="14100"/>
          <ac:picMkLst>
            <pc:docMk/>
            <pc:sldMk cId="3263554139" sldId="266"/>
            <ac:picMk id="8" creationId="{DD6BFBAE-101D-8845-87BE-AE9E550E8AF6}"/>
          </ac:picMkLst>
        </pc:picChg>
      </pc:sldChg>
      <pc:sldChg chg="del">
        <pc:chgData name="Rochini Paidisetty" userId="6a8dc582-80f6-4ffb-8e1d-ea16b67c54bb" providerId="ADAL" clId="{CB88F092-25B2-4448-BC45-336AE529CFC8}" dt="2020-07-30T23:54:43.822" v="33" actId="2696"/>
        <pc:sldMkLst>
          <pc:docMk/>
          <pc:sldMk cId="3746265491" sldId="270"/>
        </pc:sldMkLst>
      </pc:sldChg>
      <pc:sldChg chg="modSp">
        <pc:chgData name="Rochini Paidisetty" userId="6a8dc582-80f6-4ffb-8e1d-ea16b67c54bb" providerId="ADAL" clId="{CB88F092-25B2-4448-BC45-336AE529CFC8}" dt="2020-07-30T23:57:52.335" v="54" actId="20577"/>
        <pc:sldMkLst>
          <pc:docMk/>
          <pc:sldMk cId="24243161" sldId="271"/>
        </pc:sldMkLst>
        <pc:spChg chg="mod">
          <ac:chgData name="Rochini Paidisetty" userId="6a8dc582-80f6-4ffb-8e1d-ea16b67c54bb" providerId="ADAL" clId="{CB88F092-25B2-4448-BC45-336AE529CFC8}" dt="2020-07-30T23:57:52.335" v="54" actId="20577"/>
          <ac:spMkLst>
            <pc:docMk/>
            <pc:sldMk cId="24243161" sldId="271"/>
            <ac:spMk id="2" creationId="{182F740A-DA11-DB43-BFD7-C8D445055026}"/>
          </ac:spMkLst>
        </pc:spChg>
      </pc:sldChg>
      <pc:sldChg chg="del">
        <pc:chgData name="Rochini Paidisetty" userId="6a8dc582-80f6-4ffb-8e1d-ea16b67c54bb" providerId="ADAL" clId="{CB88F092-25B2-4448-BC45-336AE529CFC8}" dt="2020-07-30T23:56:13.176" v="39" actId="2696"/>
        <pc:sldMkLst>
          <pc:docMk/>
          <pc:sldMk cId="2269038194" sldId="273"/>
        </pc:sldMkLst>
      </pc:sldChg>
      <pc:sldChg chg="addSp delSp modSp">
        <pc:chgData name="Rochini Paidisetty" userId="6a8dc582-80f6-4ffb-8e1d-ea16b67c54bb" providerId="ADAL" clId="{CB88F092-25B2-4448-BC45-336AE529CFC8}" dt="2020-07-30T23:55:43.123" v="37" actId="14100"/>
        <pc:sldMkLst>
          <pc:docMk/>
          <pc:sldMk cId="1498696516" sldId="274"/>
        </pc:sldMkLst>
        <pc:picChg chg="del">
          <ac:chgData name="Rochini Paidisetty" userId="6a8dc582-80f6-4ffb-8e1d-ea16b67c54bb" providerId="ADAL" clId="{CB88F092-25B2-4448-BC45-336AE529CFC8}" dt="2020-07-30T23:55:35.601" v="34" actId="478"/>
          <ac:picMkLst>
            <pc:docMk/>
            <pc:sldMk cId="1498696516" sldId="274"/>
            <ac:picMk id="3" creationId="{86C0C7AC-2FD8-1442-89E4-5EC9A418F3C6}"/>
          </ac:picMkLst>
        </pc:picChg>
        <pc:picChg chg="add mod">
          <ac:chgData name="Rochini Paidisetty" userId="6a8dc582-80f6-4ffb-8e1d-ea16b67c54bb" providerId="ADAL" clId="{CB88F092-25B2-4448-BC45-336AE529CFC8}" dt="2020-07-30T23:55:43.123" v="37" actId="14100"/>
          <ac:picMkLst>
            <pc:docMk/>
            <pc:sldMk cId="1498696516" sldId="274"/>
            <ac:picMk id="5" creationId="{E2E1937A-C044-F949-88E8-440413676195}"/>
          </ac:picMkLst>
        </pc:picChg>
      </pc:sldChg>
      <pc:sldChg chg="del">
        <pc:chgData name="Rochini Paidisetty" userId="6a8dc582-80f6-4ffb-8e1d-ea16b67c54bb" providerId="ADAL" clId="{CB88F092-25B2-4448-BC45-336AE529CFC8}" dt="2020-07-30T23:56:09.032" v="38" actId="2696"/>
        <pc:sldMkLst>
          <pc:docMk/>
          <pc:sldMk cId="564687354" sldId="27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43266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1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8B535-AC5E-5848-AB6F-ED99B476B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03A81E-E2CC-0945-A3BF-CF5934399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819AFD-0259-F149-B58D-60B6A217C3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CF789-8B02-5740-8112-401B90292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EE6C57-65B9-3A48-A9B7-378BFC72A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2078B8-7E4B-B247-8E5E-C0ED35BE4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601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AB305-C6BC-B14E-813A-7A324A619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2A4071-5A86-BD48-A6B2-95797BE82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73CA4-CF8E-7643-AAE7-D6A6C086F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CE25E-F60C-804F-B882-CD93B5126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30C5C-B1D1-F04A-84F0-AC55E9330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0907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AFAF1-53B2-6A49-9650-FAFEB8114F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413029" y="357856"/>
            <a:ext cx="1932310" cy="56961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FFF528-F2CC-574B-A5F6-F636C1EDD4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16099" y="357856"/>
            <a:ext cx="5684912" cy="56961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4610C-DA61-304E-A3E0-3518D04FD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F725E3-C4A9-2244-93FB-321257EB5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C1F58-D24D-2A4B-A87E-2D87C9C6C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79348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7572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80E9E-B0E4-5641-910A-C86C09492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0180" y="1100020"/>
            <a:ext cx="6721079" cy="2340069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8B6E4F-4C6D-5240-9386-C290EBDDE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0180" y="3530331"/>
            <a:ext cx="6721079" cy="1622800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B20C4-28B9-5948-AC49-1489E2640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F5EF5-2CBD-0146-9B45-B9CC5EAD6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2F37-DB40-8A4C-9B4E-8F04A81BE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494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A013C-2FBC-8440-B258-F957457F4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A2E1DF-73F7-094F-B53C-295FAE9039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B02AF9-EF1C-EF47-B902-EDAB95102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BAA4FC-9121-BF4B-B7B8-AEE461C28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DF1B3-177C-FD40-8E1C-A96C7B33A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45469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465DC-B6F2-494D-A754-88F6A2A24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32" y="1675702"/>
            <a:ext cx="7729240" cy="2795946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69FBD-06A5-AA4A-A131-7DE975F06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432" y="4498099"/>
            <a:ext cx="7729240" cy="1470322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935385-265D-9A42-A222-BAE019870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F4D3E3-A636-4647-83E6-9C9801AE9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17662-830C-7448-99E8-C913B459F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60316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F03C1-0D2C-F949-80B8-88F03B0BF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DBDFD-E9E7-5347-84A8-86BC1F139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6099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E6FA30-62A4-264C-8A56-353FB6C9E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36728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A2599-2551-6E4F-9E05-3558426BB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BD755B-BAA0-BD49-8937-A3EFD5CDF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F435A8-DE3F-DF42-9FE8-94A7D27EF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72057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21B7E-4194-C046-8518-9392A01CF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357857"/>
            <a:ext cx="7729240" cy="12991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6EDDCC-8C8B-E143-9699-2ECDEC006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7266" y="1647695"/>
            <a:ext cx="379110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02366C-2F52-0E4C-A6AE-CF26AE4E7A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66" y="2455206"/>
            <a:ext cx="379110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099215-205B-7D45-B0FE-98FFDFCC3D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36728" y="1647695"/>
            <a:ext cx="380977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594957-627F-A048-9627-A4B6B87104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536728" y="2455206"/>
            <a:ext cx="380977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B8C0EA-4372-BD43-86AC-7AFBB5CDA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6E23D-65A2-F141-854D-F64D61E66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18855B-299D-0C41-B5EC-40F58B37F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83396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E9CE-4499-C34F-8B3C-4461A7DBB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BFAFEB-88D6-4242-B78B-933C6829D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F8C37-E13E-C141-B021-E100D3525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704AEF-CE5B-1341-AC82-27221D087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453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5B6EB9-2D90-E449-A513-199E3F0ED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5AFFDD-680B-144E-9218-48A11070E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22B1A-D1D1-0647-8486-2A5BA230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5360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88AE7-8EE6-CE4C-961C-472E7FDD9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71A7F7-06AB-7E4E-BDEB-7D77D088A6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B79A92-B893-7246-8E4C-297270F62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1F8B3A-C7E6-0248-85AF-3D7075CA9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A7ABBE-449A-D644-8643-D5F55408C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3B135D-9B17-264A-9639-6971C26E3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7126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E4D817-8F92-0449-9AF4-7A6B74B6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357857"/>
            <a:ext cx="772924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F3F32-0D4A-4943-9E97-9F6F9B8501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6099" y="1789282"/>
            <a:ext cx="772924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356E93-1A3D-0743-B2B2-936FF9533A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0724AC-93EF-464B-8D88-BC8281C2CD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94B43-9747-7441-9AFE-AD4C65517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404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hf hdr="0" ftr="0" dt="0"/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F740A-DA11-DB43-BFD7-C8D445055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625" y="3360737"/>
            <a:ext cx="8329808" cy="984885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sz="3200" b="1" dirty="0">
                <a:solidFill>
                  <a:schemeClr val="dk1"/>
                </a:solidFill>
                <a:latin typeface="Arial"/>
                <a:cs typeface="Arial"/>
                <a:sym typeface="Arial"/>
              </a:rPr>
              <a:t>US Accidents 2019 – Non-Technical Pres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4C3E9C-B862-3447-A608-78B1B13414CF}"/>
              </a:ext>
            </a:extLst>
          </p:cNvPr>
          <p:cNvSpPr/>
          <p:nvPr/>
        </p:nvSpPr>
        <p:spPr>
          <a:xfrm>
            <a:off x="0" y="4759890"/>
            <a:ext cx="8961438" cy="1961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42;p1">
            <a:extLst>
              <a:ext uri="{FF2B5EF4-FFF2-40B4-BE49-F238E27FC236}">
                <a16:creationId xmlns:a16="http://schemas.microsoft.com/office/drawing/2014/main" id="{8B8C423D-C839-4045-AF4C-7182ADB8E31F}"/>
              </a:ext>
            </a:extLst>
          </p:cNvPr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7/30/2020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43;p1">
            <a:extLst>
              <a:ext uri="{FF2B5EF4-FFF2-40B4-BE49-F238E27FC236}">
                <a16:creationId xmlns:a16="http://schemas.microsoft.com/office/drawing/2014/main" id="{6999D97F-91C9-4D49-BE5B-51698FD2720E}"/>
              </a:ext>
            </a:extLst>
          </p:cNvPr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Rochini Paidiset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43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49" y="81329"/>
            <a:ext cx="86185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sz="1600" dirty="0"/>
              <a:t>Analyse US accidents data of 2019 to provide Recommendations based on the insights generated and build a model to predict the severity of accidents given the weather conditions as input.</a:t>
            </a:r>
          </a:p>
        </p:txBody>
      </p:sp>
      <p:grpSp>
        <p:nvGrpSpPr>
          <p:cNvPr id="49" name="Google Shape;49;p3"/>
          <p:cNvGrpSpPr/>
          <p:nvPr/>
        </p:nvGrpSpPr>
        <p:grpSpPr>
          <a:xfrm>
            <a:off x="721859" y="1825875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</a:p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dentify any patterns or outstanding observations to provide recommendations. </a:t>
              </a:r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o understand if there are any patterns or any specific location or weather specific conditions leading to the accidents.</a:t>
              </a:r>
              <a:endParaRPr dirty="0"/>
            </a:p>
          </p:txBody>
        </p:sp>
      </p:grpSp>
      <p:sp>
        <p:nvSpPr>
          <p:cNvPr id="60" name="Google Shape;60;p3"/>
          <p:cNvSpPr/>
          <p:nvPr/>
        </p:nvSpPr>
        <p:spPr>
          <a:xfrm>
            <a:off x="882492" y="4166802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250" y="403774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0" y="4166802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34383" y="4710346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3</a:t>
            </a:r>
          </a:p>
          <a:p>
            <a:pPr algn="ctr"/>
            <a:r>
              <a:rPr lang="en-US" sz="1176" b="1" dirty="0">
                <a:solidFill>
                  <a:srgbClr val="002060"/>
                </a:solidFill>
                <a:latin typeface="Quattrocento Sans"/>
              </a:rPr>
              <a:t>Generate a model to predict the severity of an accident.</a:t>
            </a:r>
            <a:endParaRPr sz="1176" b="1" dirty="0">
              <a:solidFill>
                <a:srgbClr val="002060"/>
              </a:solidFill>
              <a:latin typeface="Quattrocento Sans"/>
            </a:endParaRPr>
          </a:p>
        </p:txBody>
      </p:sp>
      <p:sp>
        <p:nvSpPr>
          <p:cNvPr id="64" name="Google Shape;64;p3"/>
          <p:cNvSpPr/>
          <p:nvPr/>
        </p:nvSpPr>
        <p:spPr>
          <a:xfrm>
            <a:off x="4480718" y="4563896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o generate a model that can take the weather conditions and predict the severity of an accident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349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DF72B-CA86-0846-B621-2DDD4B29C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Majority of the accidents are on the East zone of the country out of the four zon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7CDA93-F83C-5849-B60F-9AEC1FC3F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57" y="998483"/>
            <a:ext cx="8618538" cy="5097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0807CB9-E163-4F4E-BF44-CB2B533B707A}"/>
              </a:ext>
            </a:extLst>
          </p:cNvPr>
          <p:cNvSpPr/>
          <p:nvPr/>
        </p:nvSpPr>
        <p:spPr>
          <a:xfrm>
            <a:off x="5675586" y="1902372"/>
            <a:ext cx="2585545" cy="393086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9811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DA9F9-4B6F-8240-8BF0-212F27193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48" y="348623"/>
            <a:ext cx="8618537" cy="246221"/>
          </a:xfrm>
        </p:spPr>
        <p:txBody>
          <a:bodyPr/>
          <a:lstStyle/>
          <a:p>
            <a:r>
              <a:rPr lang="en-US" sz="1600" dirty="0"/>
              <a:t>California is a state with highest number of accidents in USA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51F962-2822-8A4D-BB25-8C5904C11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48" y="1132480"/>
            <a:ext cx="8618537" cy="44565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D300C4-1EDD-F54A-A07B-457A986F8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9410" y="1350058"/>
            <a:ext cx="984441" cy="8944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2A32AD2-8FE3-8C40-A52C-1F70023F0422}"/>
              </a:ext>
            </a:extLst>
          </p:cNvPr>
          <p:cNvSpPr/>
          <p:nvPr/>
        </p:nvSpPr>
        <p:spPr>
          <a:xfrm>
            <a:off x="1313793" y="1587062"/>
            <a:ext cx="1597573" cy="557049"/>
          </a:xfrm>
          <a:prstGeom prst="rect">
            <a:avLst/>
          </a:prstGeom>
          <a:ln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CA with highest number of acciden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CEF67D-31CB-014D-BAA2-9F3856017766}"/>
              </a:ext>
            </a:extLst>
          </p:cNvPr>
          <p:cNvCxnSpPr/>
          <p:nvPr/>
        </p:nvCxnSpPr>
        <p:spPr>
          <a:xfrm>
            <a:off x="819807" y="1581355"/>
            <a:ext cx="493986" cy="21591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F9F217B-D7F9-9F42-894B-E1602559E941}"/>
              </a:ext>
            </a:extLst>
          </p:cNvPr>
          <p:cNvSpPr txBox="1"/>
          <p:nvPr/>
        </p:nvSpPr>
        <p:spPr>
          <a:xfrm>
            <a:off x="109730" y="6506031"/>
            <a:ext cx="21868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ource: US Accidents Data set from Kagg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E6ADE0-712F-CF4D-A764-FF05461FC130}"/>
              </a:ext>
            </a:extLst>
          </p:cNvPr>
          <p:cNvSpPr/>
          <p:nvPr/>
        </p:nvSpPr>
        <p:spPr>
          <a:xfrm>
            <a:off x="171448" y="5915025"/>
            <a:ext cx="8618537" cy="400050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66;p2">
            <a:extLst>
              <a:ext uri="{FF2B5EF4-FFF2-40B4-BE49-F238E27FC236}">
                <a16:creationId xmlns:a16="http://schemas.microsoft.com/office/drawing/2014/main" id="{820FC220-2035-4A41-88A6-DE10E250D501}"/>
              </a:ext>
            </a:extLst>
          </p:cNvPr>
          <p:cNvSpPr/>
          <p:nvPr/>
        </p:nvSpPr>
        <p:spPr>
          <a:xfrm>
            <a:off x="171448" y="5717329"/>
            <a:ext cx="1031689" cy="1856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19C042-090B-6347-81D4-195DB77192C8}"/>
              </a:ext>
            </a:extLst>
          </p:cNvPr>
          <p:cNvSpPr txBox="1"/>
          <p:nvPr/>
        </p:nvSpPr>
        <p:spPr>
          <a:xfrm>
            <a:off x="295275" y="6000750"/>
            <a:ext cx="830227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. The number of accidents in California are more than double the number of accidents of the next highest state, Texa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39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16878-DA05-C944-984B-495B32F4E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94593"/>
            <a:ext cx="8618537" cy="584775"/>
          </a:xfrm>
        </p:spPr>
        <p:txBody>
          <a:bodyPr/>
          <a:lstStyle/>
          <a:p>
            <a:r>
              <a:rPr lang="en-US" dirty="0"/>
              <a:t>Three cities from the top five Cities with highest number of accidents are from the state Texas.</a:t>
            </a:r>
          </a:p>
        </p:txBody>
      </p:sp>
      <p:sp>
        <p:nvSpPr>
          <p:cNvPr id="5" name="Google Shape;66;p2">
            <a:extLst>
              <a:ext uri="{FF2B5EF4-FFF2-40B4-BE49-F238E27FC236}">
                <a16:creationId xmlns:a16="http://schemas.microsoft.com/office/drawing/2014/main" id="{07194B9F-A72A-8847-9EB5-00D113CFD66A}"/>
              </a:ext>
            </a:extLst>
          </p:cNvPr>
          <p:cNvSpPr/>
          <p:nvPr/>
        </p:nvSpPr>
        <p:spPr>
          <a:xfrm>
            <a:off x="6540719" y="1233226"/>
            <a:ext cx="1031689" cy="1856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26A2B1-9CC8-8A4A-A45F-8EAA644B15D5}"/>
              </a:ext>
            </a:extLst>
          </p:cNvPr>
          <p:cNvSpPr/>
          <p:nvPr/>
        </p:nvSpPr>
        <p:spPr>
          <a:xfrm>
            <a:off x="6540719" y="1418898"/>
            <a:ext cx="2249269" cy="3489434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2025C2-B17C-6946-9111-09997ADCC1EE}"/>
              </a:ext>
            </a:extLst>
          </p:cNvPr>
          <p:cNvSpPr txBox="1"/>
          <p:nvPr/>
        </p:nvSpPr>
        <p:spPr>
          <a:xfrm>
            <a:off x="6565054" y="1537995"/>
            <a:ext cx="222493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200" dirty="0"/>
              <a:t>Houston is the city with highest number of Accidents.</a:t>
            </a:r>
          </a:p>
          <a:p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More Vehicle speed monitors to be installed on the roads to check for the obedience of the Speed limits.</a:t>
            </a:r>
          </a:p>
          <a:p>
            <a:pPr marL="342900" indent="-342900">
              <a:buFont typeface="Arial"/>
              <a:buAutoNum type="arabicPeriod"/>
            </a:pPr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Traffic tickets issuance / traffic rules should be made more stringent to inculcate careful drive for individuals.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6BFBAE-101D-8845-87BE-AE9E550E8A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49" y="1103312"/>
            <a:ext cx="5572125" cy="503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54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0E79B-54AC-CC44-82F1-73A47960A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106364"/>
            <a:ext cx="8618537" cy="665162"/>
          </a:xfrm>
        </p:spPr>
        <p:txBody>
          <a:bodyPr/>
          <a:lstStyle/>
          <a:p>
            <a:r>
              <a:rPr lang="en-US" dirty="0"/>
              <a:t>As the Temperature increases, there is slight decrease in the Severity of the accidents.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E1937A-C044-F949-88E8-440413676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718" y="1147761"/>
            <a:ext cx="7819231" cy="5114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696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9E1AD-8C3E-934B-9F50-EFC9700E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Highest number of accidents in a day occurred during the start and end timings of office hour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68F965-731D-4A40-A41E-1CBE49F75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61545"/>
            <a:ext cx="8618537" cy="542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91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6D4E0-517D-A44A-B162-DDEF3FDF7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longest effect of accidents on traffic in a day are at the start and end timings of the office hou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5EB474-8469-CC4E-B976-864E5075B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77244"/>
            <a:ext cx="8618537" cy="541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51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E06EB-DD1E-AE47-B15E-A1920EA29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: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13F21-E153-4642-A94B-CAC54CFB1FAA}"/>
              </a:ext>
            </a:extLst>
          </p:cNvPr>
          <p:cNvSpPr/>
          <p:nvPr/>
        </p:nvSpPr>
        <p:spPr>
          <a:xfrm>
            <a:off x="171451" y="1181100"/>
            <a:ext cx="8618537" cy="5219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317C6B-A252-364B-8264-BA8F450FA5E7}"/>
              </a:ext>
            </a:extLst>
          </p:cNvPr>
          <p:cNvSpPr txBox="1"/>
          <p:nvPr/>
        </p:nvSpPr>
        <p:spPr>
          <a:xfrm>
            <a:off x="295276" y="1343025"/>
            <a:ext cx="840105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More Vehicle speed monitors to be installed on the roads of California and Texas to check for the obedience of the Speed limits. 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tickets issuance / traffic rules should be made more stringent in California and Texas  to inculcate careful drive for individuals.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Department of South Dakota needs to prioritize and look for better ways to clear the accident cite to reduce the impact on the traffic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A predictive model is generated to predict the Severity of an accidents given the weather conditions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his model be used by the traffic team to predict the severity of an accident occurred and act in accordance with it.</a:t>
            </a:r>
          </a:p>
          <a:p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001021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7</TotalTime>
  <Words>418</Words>
  <Application>Microsoft Macintosh PowerPoint</Application>
  <PresentationFormat>Custom</PresentationFormat>
  <Paragraphs>46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Quattrocento Sans</vt:lpstr>
      <vt:lpstr>Synergy_CF_YNR002</vt:lpstr>
      <vt:lpstr>Office Theme</vt:lpstr>
      <vt:lpstr>TCLayout.ActiveDocument.1</vt:lpstr>
      <vt:lpstr>US Accidents 2019 – Non-Technical Presentation</vt:lpstr>
      <vt:lpstr>Analyse US accidents data of 2019 to provide Recommendations based on the insights generated and build a model to predict the severity of accidents given the weather conditions as input.</vt:lpstr>
      <vt:lpstr>Majority of the accidents are on the East zone of the country out of the four zones.</vt:lpstr>
      <vt:lpstr>California is a state with highest number of accidents in USA.</vt:lpstr>
      <vt:lpstr>Three cities from the top five Cities with highest number of accidents are from the state Texas.</vt:lpstr>
      <vt:lpstr>As the Temperature increases, there is slight decrease in the Severity of the accidents. </vt:lpstr>
      <vt:lpstr>Highest number of accidents in a day occurred during the start and end timings of office hours.</vt:lpstr>
      <vt:lpstr>The longest effect of accidents on traffic in a day are at the start and end timings of the office hours</vt:lpstr>
      <vt:lpstr>Recommenda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Rochini Paidisetty</cp:lastModifiedBy>
  <cp:revision>13</cp:revision>
  <dcterms:created xsi:type="dcterms:W3CDTF">2015-09-14T11:37:31Z</dcterms:created>
  <dcterms:modified xsi:type="dcterms:W3CDTF">2020-07-30T23:5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